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8"/>
  </p:notesMasterIdLst>
  <p:sldIdLst>
    <p:sldId id="257" r:id="rId6"/>
    <p:sldId id="260" r:id="rId7"/>
  </p:sldIdLst>
  <p:sldSz cx="9906000" cy="6858000" type="A4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7B57"/>
    <a:srgbClr val="C5E4BA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 snapToObjects="1" showGuides="1">
      <p:cViewPr varScale="1">
        <p:scale>
          <a:sx n="71" d="100"/>
          <a:sy n="71" d="100"/>
        </p:scale>
        <p:origin x="1044" y="5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7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64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5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cs-CZ" noProof="0" dirty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for</a:t>
            </a:r>
            <a:r>
              <a:rPr lang="cs-CZ" dirty="0" smtClean="0"/>
              <a:t> </a:t>
            </a:r>
            <a:r>
              <a:rPr lang="cs-CZ" dirty="0" err="1" smtClean="0"/>
              <a:t>client</a:t>
            </a:r>
            <a:r>
              <a:rPr lang="cs-CZ" dirty="0" smtClean="0"/>
              <a:t> logo</a:t>
            </a:r>
            <a:endParaRPr lang="cs-CZ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04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cs-CZ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cs-CZ" sz="2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26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endParaRPr lang="cs-CZ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cs-CZ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1099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Staffr concept v1 slides 1-2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DraftStamp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577200" y="6601968"/>
            <a:ext cx="1968488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C41300"/>
                </a:solidFill>
              </a:rPr>
              <a:t>Draft—for discussion only</a:t>
            </a:r>
            <a:endParaRPr lang="en-US" sz="1200" b="1" dirty="0">
              <a:solidFill>
                <a:srgbClr val="C413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pyright © 2017 by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Boston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nsulting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Group, Inc.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All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ights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700" dirty="0" err="1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reserved</a:t>
            </a:r>
            <a:r>
              <a:rPr lang="cs-CZ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cs-CZ" sz="700" dirty="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slideLayout" Target="../slideLayouts/slideLayout2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91" Type="http://schemas.openxmlformats.org/officeDocument/2006/relationships/tags" Target="../tags/tag97.xml"/><Relationship Id="rId96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oleObject" Target="../embeddings/oleObject4.bin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P0	3.7.</a:t>
            </a:r>
          </a:p>
          <a:p>
            <a:r>
              <a:rPr lang="en-US" dirty="0" smtClean="0"/>
              <a:t>CP1</a:t>
            </a:r>
            <a:r>
              <a:rPr lang="en-US" smtClean="0"/>
              <a:t>	</a:t>
            </a:r>
            <a:r>
              <a:rPr lang="en-US" smtClean="0"/>
              <a:t>31.</a:t>
            </a:r>
            <a:r>
              <a:rPr lang="cs-CZ" smtClean="0"/>
              <a:t>8</a:t>
            </a:r>
            <a:r>
              <a:rPr lang="en-US" smtClean="0"/>
              <a:t>.</a:t>
            </a:r>
            <a:endParaRPr lang="en-US" dirty="0" smtClean="0"/>
          </a:p>
          <a:p>
            <a:r>
              <a:rPr lang="en-US" smtClean="0"/>
              <a:t>CP2</a:t>
            </a:r>
            <a:r>
              <a:rPr lang="cs-CZ" smtClean="0"/>
              <a:t>	31.9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Mtgs. 1.7., 16.7., 28.7.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325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97" imgW="270" imgH="270" progId="TCLayout.ActiveDocument.1">
                  <p:embed/>
                </p:oleObj>
              </mc:Choice>
              <mc:Fallback>
                <p:oleObj name="think-cell Slide" r:id="rId9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hedule</a:t>
            </a:r>
            <a:endParaRPr lang="cs-CZ" dirty="0"/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gray">
          <a:xfrm>
            <a:off x="458788" y="389096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5"/>
            </p:custDataLst>
          </p:nvPr>
        </p:nvSpPr>
        <p:spPr bwMode="gray">
          <a:xfrm>
            <a:off x="458788" y="2728913"/>
            <a:ext cx="1338263" cy="533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6"/>
            </p:custDataLst>
          </p:nvPr>
        </p:nvSpPr>
        <p:spPr bwMode="gray">
          <a:xfrm>
            <a:off x="458788" y="3262313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/>
          <p:cNvSpPr/>
          <p:nvPr>
            <p:custDataLst>
              <p:tags r:id="rId7"/>
            </p:custDataLst>
          </p:nvPr>
        </p:nvSpPr>
        <p:spPr bwMode="gray">
          <a:xfrm>
            <a:off x="458788" y="4519613"/>
            <a:ext cx="1338263" cy="812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gray">
          <a:xfrm>
            <a:off x="458788" y="2100264"/>
            <a:ext cx="1338263" cy="6286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3556000" y="2100262"/>
            <a:ext cx="306388" cy="3232150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gray">
          <a:xfrm>
            <a:off x="3173413" y="2100263"/>
            <a:ext cx="382588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>
            <p:custDataLst>
              <p:tags r:id="rId11"/>
            </p:custDataLst>
          </p:nvPr>
        </p:nvSpPr>
        <p:spPr bwMode="gray">
          <a:xfrm>
            <a:off x="4244975" y="2100263"/>
            <a:ext cx="1454150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93"/>
          <p:cNvSpPr/>
          <p:nvPr>
            <p:custDataLst>
              <p:tags r:id="rId12"/>
            </p:custDataLst>
          </p:nvPr>
        </p:nvSpPr>
        <p:spPr bwMode="gray">
          <a:xfrm>
            <a:off x="7227888" y="2100262"/>
            <a:ext cx="460375" cy="32321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97050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08E329-06FC-4945-AD31-96181F435080}" type="datetime'''''''''''''''''''''''''J''''''''''u''''''''l'''''''''''''''''">
              <a:rPr lang="en-US" altLang="en-US" sz="1200" b="0">
                <a:sym typeface="+mn-lt"/>
              </a:rPr>
              <a:pPr/>
              <a:t>Jul</a:t>
            </a:fld>
            <a:endParaRPr lang="en-US" sz="1200" b="0" dirty="0">
              <a:sym typeface="+mn-lt"/>
            </a:endParaRPr>
          </a:p>
        </p:txBody>
      </p:sp>
      <p:sp>
        <p:nvSpPr>
          <p:cNvPr id="39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68775" y="1600200"/>
            <a:ext cx="237172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2E8922-A60B-4FEC-AEB2-34BF5E5C5E48}" type="datetime'A''''''''ug'''''''''''''''''''''''">
              <a:rPr lang="en-US" altLang="en-US" sz="1200" b="0">
                <a:sym typeface="+mn-lt"/>
              </a:rPr>
              <a:pPr/>
              <a:t>Aug</a:t>
            </a:fld>
            <a:endParaRPr lang="en-US" sz="1200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40500" y="1600200"/>
            <a:ext cx="22939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22A77-F326-4F57-BE16-8A82881A6CFB}" type="datetime'''''S''''''''''e''''''''p'''''''''''''''''''''''''''''''">
              <a:rPr lang="en-US" altLang="en-US" sz="1200" b="0">
                <a:sym typeface="+mn-lt"/>
              </a:rPr>
              <a:pPr/>
              <a:t>Sep</a:t>
            </a:fld>
            <a:endParaRPr lang="en-US" sz="1200" b="0" dirty="0">
              <a:sym typeface="+mn-lt"/>
            </a:endParaRPr>
          </a:p>
        </p:txBody>
      </p:sp>
      <p:sp>
        <p:nvSpPr>
          <p:cNvPr id="72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34438" y="1600200"/>
            <a:ext cx="61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945BD-E964-4976-A50B-AFA44B4E2A37}" type="datetime'''''O''''''''c''''''''''''''''''''''''''''''''''''t'''''">
              <a:rPr lang="en-US" altLang="en-US" sz="1200" b="0">
                <a:sym typeface="+mn-lt"/>
              </a:rPr>
              <a:pPr/>
              <a:t>Oct</a:t>
            </a:fld>
            <a:endParaRPr lang="en-US" sz="1200" b="0" dirty="0">
              <a:sym typeface="+mn-lt"/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97050" y="1865313"/>
            <a:ext cx="152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D13DB-C447-4C0C-B149-846E2A59A3CB}" type="datetime'''''''''''''2''''''6'''''''">
              <a:rPr lang="en-US" altLang="en-US" sz="1000" b="0">
                <a:sym typeface="+mn-lt"/>
              </a:rPr>
              <a:pPr/>
              <a:t>26</a:t>
            </a:fld>
            <a:endParaRPr lang="en-US" sz="1000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494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645CA2-0F2E-4957-AC97-7404CD546981}" type="datetime'''''''''''''''''''''''2''''''''''''''''''''''''''7'''''''">
              <a:rPr lang="en-US" altLang="en-US" sz="1000" b="0">
                <a:sym typeface="+mn-lt"/>
              </a:rPr>
              <a:pPr/>
              <a:t>27</a:t>
            </a:fld>
            <a:endParaRPr lang="en-US" sz="1000" b="0" dirty="0">
              <a:sym typeface="+mn-lt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860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B61448-846F-4F85-80CF-A9713579D896}" type="datetime'''''''''28'''''''''''''''''''''">
              <a:rPr lang="en-US" altLang="en-US" sz="1000" b="0">
                <a:sym typeface="+mn-lt"/>
              </a:rPr>
              <a:pPr/>
              <a:t>28</a:t>
            </a:fld>
            <a:endParaRPr lang="en-US" sz="1000" b="0" dirty="0">
              <a:sym typeface="+mn-lt"/>
            </a:endParaRPr>
          </a:p>
        </p:txBody>
      </p:sp>
      <p:sp>
        <p:nvSpPr>
          <p:cNvPr id="2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10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AF4F8D-241A-463C-9E80-738E3F493FD4}" type="datetime'''''''''''''''''''''''''''''''''2''''''''''''9'''''''''''''''">
              <a:rPr lang="en-US" altLang="en-US" sz="1000" b="0">
                <a:sym typeface="+mn-lt"/>
              </a:rPr>
              <a:pPr/>
              <a:t>29</a:t>
            </a:fld>
            <a:endParaRPr lang="en-US" sz="1000" b="0" dirty="0">
              <a:sym typeface="+mn-lt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560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E0421F-13A2-4C3C-A7E6-AA0D34BB24E2}" type="datetime'''''''''''''''''''''''''''''''''''''''''''30'''''''''''''''">
              <a:rPr lang="en-US" altLang="en-US" sz="1000" b="0">
                <a:sym typeface="+mn-lt"/>
              </a:rPr>
              <a:pPr/>
              <a:t>30</a:t>
            </a:fld>
            <a:endParaRPr lang="en-US" sz="1000" b="0" dirty="0"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925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05AF4C-8C41-465F-92F0-66A9ECD7B6F3}" type="datetime'''''''''''''''''''3''''''''''''''''''''''''1'''''''''">
              <a:rPr lang="en-US" altLang="en-US" sz="1000" b="0">
                <a:sym typeface="+mn-lt"/>
              </a:rPr>
              <a:pPr/>
              <a:t>31</a:t>
            </a:fld>
            <a:endParaRPr lang="en-US" sz="1000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275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334414-B1B5-4A88-A30F-5AAA2EB46199}" type="datetime'''''''''''''3''''''''''''2'">
              <a:rPr lang="en-US" altLang="en-US" sz="1000" b="0">
                <a:sym typeface="+mn-lt"/>
              </a:rPr>
              <a:pPr/>
              <a:t>32</a:t>
            </a:fld>
            <a:endParaRPr lang="en-US" sz="1000" b="0" dirty="0"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625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C381B8-7546-49C4-A701-37A8D00A8763}" type="datetime'''''3''''''''''''''''''''3'''''''''''''''''''''''''''''">
              <a:rPr lang="en-US" altLang="en-US" sz="1000" b="0">
                <a:sym typeface="+mn-lt"/>
              </a:rPr>
              <a:pPr/>
              <a:t>33</a:t>
            </a:fld>
            <a:endParaRPr lang="en-US" sz="1000" b="0" dirty="0">
              <a:sym typeface="+mn-lt"/>
            </a:endParaRPr>
          </a:p>
        </p:txBody>
      </p:sp>
      <p:sp>
        <p:nvSpPr>
          <p:cNvPr id="3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991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1F97E8-8C31-4F72-B51F-19FD56907D8F}" type="datetime'''''''3''''''''''''''''''''''''4'''''''''">
              <a:rPr lang="en-US" altLang="en-US" sz="1000" b="0">
                <a:sym typeface="+mn-lt"/>
              </a:rPr>
              <a:pPr/>
              <a:t>34</a:t>
            </a:fld>
            <a:endParaRPr lang="en-US" sz="1000" b="0" dirty="0"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3411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BB985A-B5DE-4BB0-9D71-B226D6831C15}" type="datetime'''''3''''''''''''''''''''''''''''''''''''''5'''''">
              <a:rPr lang="en-US" altLang="en-US" sz="1000" b="0">
                <a:sym typeface="+mn-lt"/>
              </a:rPr>
              <a:pPr/>
              <a:t>35</a:t>
            </a:fld>
            <a:endParaRPr lang="en-US" sz="1000" b="0" dirty="0"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76910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5729FA8-DE1B-4E00-B36B-57A8F97EE9C8}" type="datetime'''''''''''''''''''''''36'''''''''''''''''''''''''''''''">
              <a:rPr lang="en-US" altLang="en-US" sz="1000" b="0">
                <a:sym typeface="+mn-lt"/>
              </a:rPr>
              <a:pPr/>
              <a:t>36</a:t>
            </a:fld>
            <a:endParaRPr lang="en-US" sz="1000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30567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AB2D0E-8EBC-4EAD-BAC7-015899A4E592}" type="datetime'''''''3''''''''''''''''''''''''''''''7'''''">
              <a:rPr lang="en-US" altLang="en-US" sz="1000" b="0">
                <a:sym typeface="+mn-lt"/>
              </a:rPr>
              <a:pPr/>
              <a:t>37</a:t>
            </a:fld>
            <a:endParaRPr lang="en-US" sz="1000" b="0" dirty="0"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840663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E7E285-92CA-4DBE-B93C-4EECD7D3CEA0}" type="datetime'''3''''''''''''''''''''''''''''''''''''''''''''''''''''8'">
              <a:rPr lang="en-US" altLang="en-US" sz="1000" b="0">
                <a:sym typeface="+mn-lt"/>
              </a:rPr>
              <a:pPr/>
              <a:t>38</a:t>
            </a:fld>
            <a:endParaRPr lang="en-US" sz="1000" b="0" dirty="0"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375650" y="1865313"/>
            <a:ext cx="536575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184C83-F52C-4A81-B567-D1C251149304}" type="datetime'''''''''''''''3''''''''''''''''''''''''''''9'''">
              <a:rPr lang="en-US" altLang="en-US" sz="1000" b="0">
                <a:sym typeface="+mn-lt"/>
              </a:rPr>
              <a:pPr/>
              <a:t>39</a:t>
            </a:fld>
            <a:endParaRPr lang="en-US" sz="1000" b="0" dirty="0">
              <a:sym typeface="+mn-lt"/>
            </a:endParaRPr>
          </a:p>
        </p:txBody>
      </p:sp>
      <p:sp>
        <p:nvSpPr>
          <p:cNvPr id="71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12225" y="1865313"/>
            <a:ext cx="53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E5471A-2DC0-4998-BEB4-78DBD94C8D15}" type="datetime'''''''''''''4''''''0'''''''''''''''''''''''''''''''''''''">
              <a:rPr lang="en-US" altLang="en-US" sz="1000" b="0">
                <a:sym typeface="+mn-lt"/>
              </a:rPr>
              <a:pPr/>
              <a:t>40</a:t>
            </a:fld>
            <a:endParaRPr lang="en-US" sz="1000" b="0" dirty="0">
              <a:sym typeface="+mn-lt"/>
            </a:endParaRPr>
          </a:p>
        </p:txBody>
      </p:sp>
      <p:cxnSp>
        <p:nvCxnSpPr>
          <p:cNvPr id="73" name="Straight Connector 72"/>
          <p:cNvCxnSpPr/>
          <p:nvPr>
            <p:custDataLst>
              <p:tags r:id="rId32"/>
            </p:custDataLst>
          </p:nvPr>
        </p:nvCxnSpPr>
        <p:spPr bwMode="gray">
          <a:xfrm>
            <a:off x="8834438" y="1865313"/>
            <a:ext cx="61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gray">
          <a:xfrm>
            <a:off x="4168775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4"/>
            </p:custDataLst>
          </p:nvPr>
        </p:nvCxnSpPr>
        <p:spPr bwMode="gray">
          <a:xfrm>
            <a:off x="1797050" y="1865313"/>
            <a:ext cx="23717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5"/>
            </p:custDataLst>
          </p:nvPr>
        </p:nvCxnSpPr>
        <p:spPr bwMode="gray">
          <a:xfrm>
            <a:off x="6540500" y="1865313"/>
            <a:ext cx="22939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gray">
          <a:xfrm>
            <a:off x="4168775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7"/>
            </p:custDataLst>
          </p:nvPr>
        </p:nvCxnSpPr>
        <p:spPr bwMode="gray">
          <a:xfrm>
            <a:off x="6540500" y="2100263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gray">
          <a:xfrm>
            <a:off x="1797050" y="2100262"/>
            <a:ext cx="0" cy="3232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>
            <p:custDataLst>
              <p:tags r:id="rId39"/>
            </p:custDataLst>
          </p:nvPr>
        </p:nvSpPr>
        <p:spPr bwMode="gray">
          <a:xfrm>
            <a:off x="8147050" y="3467100"/>
            <a:ext cx="687388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128"/>
          <p:cNvSpPr/>
          <p:nvPr>
            <p:custDataLst>
              <p:tags r:id="rId40"/>
            </p:custDataLst>
          </p:nvPr>
        </p:nvSpPr>
        <p:spPr bwMode="gray">
          <a:xfrm>
            <a:off x="3556000" y="2933700"/>
            <a:ext cx="4591050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>
            <p:custDataLst>
              <p:tags r:id="rId41"/>
            </p:custDataLst>
          </p:nvPr>
        </p:nvSpPr>
        <p:spPr bwMode="gray">
          <a:xfrm>
            <a:off x="1806575" y="2933700"/>
            <a:ext cx="1749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42"/>
            </p:custDataLst>
          </p:nvPr>
        </p:nvSpPr>
        <p:spPr bwMode="gray">
          <a:xfrm>
            <a:off x="2944813" y="3467100"/>
            <a:ext cx="520223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43"/>
            </p:custDataLst>
          </p:nvPr>
        </p:nvSpPr>
        <p:spPr bwMode="gray">
          <a:xfrm>
            <a:off x="1806575" y="2400300"/>
            <a:ext cx="2055813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44"/>
            </p:custDataLst>
          </p:nvPr>
        </p:nvCxnSpPr>
        <p:spPr bwMode="white">
          <a:xfrm>
            <a:off x="51625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45"/>
            </p:custDataLst>
          </p:nvPr>
        </p:nvCxnSpPr>
        <p:spPr bwMode="white">
          <a:xfrm>
            <a:off x="62341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46"/>
            </p:custDataLst>
          </p:nvPr>
        </p:nvCxnSpPr>
        <p:spPr bwMode="white">
          <a:xfrm>
            <a:off x="67691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47"/>
            </p:custDataLst>
          </p:nvPr>
        </p:nvCxnSpPr>
        <p:spPr bwMode="white">
          <a:xfrm>
            <a:off x="355600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48"/>
            </p:custDataLst>
          </p:nvPr>
        </p:nvCxnSpPr>
        <p:spPr bwMode="white">
          <a:xfrm>
            <a:off x="302101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white">
          <a:xfrm>
            <a:off x="24860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50"/>
            </p:custDataLst>
          </p:nvPr>
        </p:nvCxnSpPr>
        <p:spPr bwMode="white">
          <a:xfrm>
            <a:off x="891222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1"/>
            </p:custDataLst>
          </p:nvPr>
        </p:nvCxnSpPr>
        <p:spPr bwMode="white">
          <a:xfrm>
            <a:off x="73056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white">
          <a:xfrm>
            <a:off x="4092575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53"/>
            </p:custDataLst>
          </p:nvPr>
        </p:nvCxnSpPr>
        <p:spPr bwMode="white">
          <a:xfrm>
            <a:off x="78406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54"/>
            </p:custDataLst>
          </p:nvPr>
        </p:nvCxnSpPr>
        <p:spPr bwMode="white">
          <a:xfrm>
            <a:off x="8375650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5"/>
            </p:custDataLst>
          </p:nvPr>
        </p:nvCxnSpPr>
        <p:spPr bwMode="white">
          <a:xfrm>
            <a:off x="4627563" y="2100262"/>
            <a:ext cx="0" cy="323215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6"/>
            </p:custDataLst>
          </p:nvPr>
        </p:nvCxnSpPr>
        <p:spPr bwMode="gray">
          <a:xfrm>
            <a:off x="458788" y="3890963"/>
            <a:ext cx="898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57"/>
            </p:custDataLst>
          </p:nvPr>
        </p:nvCxnSpPr>
        <p:spPr bwMode="gray">
          <a:xfrm>
            <a:off x="8834438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>
            <p:custDataLst>
              <p:tags r:id="rId58"/>
            </p:custDataLst>
          </p:nvPr>
        </p:nvCxnSpPr>
        <p:spPr bwMode="gray">
          <a:xfrm>
            <a:off x="19494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9"/>
            </p:custDataLst>
          </p:nvPr>
        </p:nvCxnSpPr>
        <p:spPr bwMode="gray">
          <a:xfrm>
            <a:off x="5699125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60"/>
            </p:custDataLst>
          </p:nvPr>
        </p:nvCxnSpPr>
        <p:spPr bwMode="gray">
          <a:xfrm>
            <a:off x="8147050" y="2100263"/>
            <a:ext cx="0" cy="323215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1"/>
            </p:custDataLst>
          </p:nvPr>
        </p:nvCxnSpPr>
        <p:spPr bwMode="gray">
          <a:xfrm>
            <a:off x="458788" y="2100263"/>
            <a:ext cx="89884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ight Bracket 101"/>
          <p:cNvSpPr/>
          <p:nvPr>
            <p:custDataLst>
              <p:tags r:id="rId62"/>
            </p:custDataLst>
          </p:nvPr>
        </p:nvSpPr>
        <p:spPr bwMode="gray">
          <a:xfrm rot="5400000">
            <a:off x="3309938" y="5230813"/>
            <a:ext cx="107950" cy="3825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ight Bracket 104"/>
          <p:cNvSpPr/>
          <p:nvPr>
            <p:custDataLst>
              <p:tags r:id="rId63"/>
            </p:custDataLst>
          </p:nvPr>
        </p:nvSpPr>
        <p:spPr bwMode="gray">
          <a:xfrm rot="5400000">
            <a:off x="3654425" y="5851525"/>
            <a:ext cx="107950" cy="306388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Isosceles Triangle 105"/>
          <p:cNvSpPr/>
          <p:nvPr>
            <p:custDataLst>
              <p:tags r:id="rId64"/>
            </p:custDataLst>
          </p:nvPr>
        </p:nvSpPr>
        <p:spPr bwMode="gray">
          <a:xfrm rot="10800000">
            <a:off x="3602038" y="605948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Isosceles Triangle 99"/>
          <p:cNvSpPr/>
          <p:nvPr>
            <p:custDataLst>
              <p:tags r:id="rId65"/>
            </p:custDataLst>
          </p:nvPr>
        </p:nvSpPr>
        <p:spPr bwMode="gray">
          <a:xfrm rot="10800000">
            <a:off x="4865688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Isosceles Triangle 102"/>
          <p:cNvSpPr/>
          <p:nvPr>
            <p:custDataLst>
              <p:tags r:id="rId66"/>
            </p:custDataLst>
          </p:nvPr>
        </p:nvSpPr>
        <p:spPr bwMode="gray">
          <a:xfrm rot="10800000">
            <a:off x="3257550" y="5476875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ight Bracket 98"/>
          <p:cNvSpPr/>
          <p:nvPr>
            <p:custDataLst>
              <p:tags r:id="rId67"/>
            </p:custDataLst>
          </p:nvPr>
        </p:nvSpPr>
        <p:spPr bwMode="gray">
          <a:xfrm rot="5400000">
            <a:off x="4918075" y="4695825"/>
            <a:ext cx="107950" cy="1454150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Diamond 131"/>
          <p:cNvSpPr/>
          <p:nvPr>
            <p:custDataLst>
              <p:tags r:id="rId68"/>
            </p:custDataLst>
          </p:nvPr>
        </p:nvSpPr>
        <p:spPr bwMode="gray">
          <a:xfrm>
            <a:off x="769143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Isosceles Triangle 83"/>
          <p:cNvSpPr/>
          <p:nvPr>
            <p:custDataLst>
              <p:tags r:id="rId69"/>
            </p:custDataLst>
          </p:nvPr>
        </p:nvSpPr>
        <p:spPr bwMode="gray">
          <a:xfrm>
            <a:off x="8761413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Diamond 120"/>
          <p:cNvSpPr/>
          <p:nvPr>
            <p:custDataLst>
              <p:tags r:id="rId70"/>
            </p:custDataLst>
          </p:nvPr>
        </p:nvSpPr>
        <p:spPr bwMode="gray">
          <a:xfrm>
            <a:off x="5930900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Isosceles Triangle 81"/>
          <p:cNvSpPr/>
          <p:nvPr>
            <p:custDataLst>
              <p:tags r:id="rId71"/>
            </p:custDataLst>
          </p:nvPr>
        </p:nvSpPr>
        <p:spPr bwMode="gray">
          <a:xfrm>
            <a:off x="80740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Diamond 118"/>
          <p:cNvSpPr/>
          <p:nvPr>
            <p:custDataLst>
              <p:tags r:id="rId72"/>
            </p:custDataLst>
          </p:nvPr>
        </p:nvSpPr>
        <p:spPr bwMode="gray">
          <a:xfrm>
            <a:off x="3789363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Isosceles Triangle 77"/>
          <p:cNvSpPr/>
          <p:nvPr>
            <p:custDataLst>
              <p:tags r:id="rId73"/>
            </p:custDataLst>
          </p:nvPr>
        </p:nvSpPr>
        <p:spPr bwMode="gray">
          <a:xfrm>
            <a:off x="5626100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Diamond 116"/>
          <p:cNvSpPr/>
          <p:nvPr>
            <p:custDataLst>
              <p:tags r:id="rId74"/>
            </p:custDataLst>
          </p:nvPr>
        </p:nvSpPr>
        <p:spPr bwMode="gray">
          <a:xfrm>
            <a:off x="2871788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Diamond 108"/>
          <p:cNvSpPr/>
          <p:nvPr>
            <p:custDataLst>
              <p:tags r:id="rId75"/>
            </p:custDataLst>
          </p:nvPr>
        </p:nvSpPr>
        <p:spPr bwMode="gray">
          <a:xfrm>
            <a:off x="1724025" y="4175125"/>
            <a:ext cx="146050" cy="146050"/>
          </a:xfrm>
          <a:prstGeom prst="diamond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76"/>
            </p:custDataLst>
          </p:nvPr>
        </p:nvSpPr>
        <p:spPr bwMode="gray">
          <a:xfrm>
            <a:off x="1876425" y="4718050"/>
            <a:ext cx="146050" cy="127000"/>
          </a:xfrm>
          <a:prstGeom prst="triangl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08" name="Text Placeholder 1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692275" y="4343400"/>
            <a:ext cx="20955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E38D3B-098E-4F40-A9CD-41F9C86D02F1}" type="datetime'''''''''''1''''''''''''''''''''''''''.''''''''''7''.'''''">
              <a:rPr lang="en-US" altLang="en-US" sz="1000" b="0"/>
              <a:pPr/>
              <a:t>1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81" name="Text Placeholder 1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007350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CP2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9338EA1-4E05-45CA-A068-9B38547C777C}" type="datetime'''''''''''''''''''''''''''''''2''''''''2''''''.9''.'''''''''''">
              <a:rPr lang="en-US" altLang="en-US" sz="1000" b="0"/>
              <a:pPr/>
              <a:t>22.9.</a:t>
            </a:fld>
            <a:endParaRPr lang="en-US" sz="1000" b="0" dirty="0"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54038" y="1876425"/>
            <a:ext cx="54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0577E14-26DA-4FD6-961F-72AD1235AACA}" type="datetime'''A''''''''''c''t''iv''''''''''''i''''t''''''''y'''''">
              <a:rPr lang="en-US" altLang="en-US" sz="120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sz="1200" dirty="0">
              <a:sym typeface="+mn-lt"/>
            </a:endParaRPr>
          </a:p>
        </p:txBody>
      </p:sp>
      <p:sp useBgFill="1">
        <p:nvSpPr>
          <p:cNvPr id="83" name="Text Placeholder 1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8440738" y="4867275"/>
            <a:ext cx="7874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ym typeface="+mn-lt"/>
              </a:rPr>
              <a:t>Start of </a:t>
            </a:r>
            <a:br>
              <a:rPr lang="en-US" altLang="en-US" sz="1000" b="0" dirty="0" smtClean="0">
                <a:sym typeface="+mn-lt"/>
              </a:rPr>
            </a:br>
            <a:r>
              <a:rPr lang="en-US" altLang="en-US" sz="1000" b="0" dirty="0" smtClean="0">
                <a:sym typeface="+mn-lt"/>
              </a:rPr>
              <a:t>new semester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E4773D0-77D5-476A-A71B-ED522F26CDF6}" type="datetime'1''''.1''''''''''''''''0''''''''''''''''''''''.'">
              <a:rPr lang="en-US" altLang="en-US" sz="1000" b="0"/>
              <a:pPr/>
              <a:t>1.10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01" name="Text Placeholder 1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009900" y="5602288"/>
            <a:ext cx="7096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Hungary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F98E9383-8025-4321-BD9B-EB31F3A0A828}" type="datetime'''''''19''''''''''''''''''.''''''''7''''''''''.'''">
              <a:rPr lang="en-US" altLang="en-US" sz="1000" b="0"/>
              <a:pPr/>
              <a:t>19.7.</a:t>
            </a:fld>
            <a:r>
              <a:rPr lang="en-US" altLang="en-US" sz="1000" b="0" smtClean="0">
                <a:sym typeface="+mn-lt"/>
              </a:rPr>
              <a:t> - </a:t>
            </a:r>
            <a:fld id="{B1DC747C-9205-481F-B097-15CDA7A58F9B}" type="datetime'''''''''''''23''''''''.''''7''''''''''''''.'''''''''''''''">
              <a:rPr lang="en-US" altLang="en-US" sz="1000" b="0"/>
              <a:pPr/>
              <a:t>23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8" name="Text Placeholder 12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722688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834DD6-FD90-4D6A-9BA3-317C47F95DCC}" type="datetime'''''''''2''''''8''''''''''''''''''''''.''''7.'''''''''''''''''">
              <a:rPr lang="en-US" altLang="en-US" sz="1000" b="0"/>
              <a:pPr/>
              <a:t>28.7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104" name="Text Placeholder 1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373438" y="6184900"/>
            <a:ext cx="6715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Boat trip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0A56A02D-D10C-4151-967D-9FE271BCB35D}" type="datetime'''''2''''''''4.''''7''''.'''''''''''''''''''''''''">
              <a:rPr lang="en-US" altLang="en-US" sz="1000" b="0" smtClean="0"/>
              <a:pPr/>
              <a:t>24.7.</a:t>
            </a:fld>
            <a:r>
              <a:rPr lang="en-US" altLang="en-US" sz="1000" b="0" dirty="0" smtClean="0">
                <a:sym typeface="+mn-lt"/>
              </a:rPr>
              <a:t> </a:t>
            </a:r>
            <a:r>
              <a:rPr lang="en-US" altLang="en-US" sz="1000" b="0" smtClean="0">
                <a:sym typeface="+mn-lt"/>
              </a:rPr>
              <a:t>- </a:t>
            </a:r>
            <a:fld id="{DFFC8BF6-E486-4A3F-B961-E7C5C1ACC2EA}" type="datetime'2''''''''''''7.''''''''''''''''''7''''''''''''.'''''''''''''">
              <a:rPr lang="en-US" altLang="en-US" sz="1000" b="0"/>
              <a:pPr/>
              <a:t>27.7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20" name="Text Placeholder 1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864225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F7067-D598-48F6-A02C-AF815915D9BE}" type="datetime'2''''''''''''''''''''''''''5''''.''8.'''''''''''''''''''''''''">
              <a:rPr lang="en-US" altLang="en-US" sz="1000" b="0"/>
              <a:pPr/>
              <a:t>25.8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54038" y="4176713"/>
            <a:ext cx="549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Meetings</a:t>
            </a:r>
            <a:endParaRPr lang="en-US" sz="1000" dirty="0">
              <a:sym typeface="+mn-lt"/>
            </a:endParaRPr>
          </a:p>
        </p:txBody>
      </p:sp>
      <p:sp useBgFill="1">
        <p:nvSpPr>
          <p:cNvPr id="77" name="Text Placeholder 1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559425" y="4867275"/>
            <a:ext cx="2794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1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0576ABC-E277-455F-B62B-BCE89565F2F1}" type="datetime'''''''''''''''''''''''2''0''''''.''''''''8.''''''''''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116" name="Text Placeholder 1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80511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A3F4DCC-8746-4042-9718-2CD3A2AD24F2}" type="datetime'''''''''''''16''''.''''7''''''''''''.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.7.</a:t>
            </a:fld>
            <a:endParaRPr lang="en-US" altLang="en-US" sz="1000" b="0" dirty="0" smtClean="0">
              <a:sym typeface="+mn-lt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554038" y="3452813"/>
            <a:ext cx="795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evelopment</a:t>
            </a:r>
            <a:endParaRPr lang="en-US" sz="1000" dirty="0">
              <a:sym typeface="+mn-lt"/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54038" y="2919413"/>
            <a:ext cx="534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Learning</a:t>
            </a:r>
            <a:endParaRPr lang="en-US" sz="1000" dirty="0">
              <a:sym typeface="+mn-lt"/>
            </a:endParaRPr>
          </a:p>
        </p:txBody>
      </p:sp>
      <p:sp useBgFill="1">
        <p:nvSpPr>
          <p:cNvPr id="76" name="Text Placeholder 1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1827213" y="4867275"/>
            <a:ext cx="24606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CP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B6DBE9DF-EFDB-4CA4-A7B7-C20F21E9A526}" type="datetime'''''''''''''''''''''3''''''''''''.''''''''7.'''''''">
              <a:rPr lang="en-US" altLang="en-US" sz="1000" b="0"/>
              <a:pPr/>
              <a:t>3.7.</a:t>
            </a:fld>
            <a:endParaRPr lang="en-US" altLang="en-US" sz="1000" b="0" dirty="0" smtClean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54039" y="2386013"/>
            <a:ext cx="1147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Document creation</a:t>
            </a:r>
            <a:endParaRPr lang="en-US" sz="1000" dirty="0">
              <a:sym typeface="+mn-lt"/>
            </a:endParaRPr>
          </a:p>
        </p:txBody>
      </p:sp>
      <p:sp useBgFill="1">
        <p:nvSpPr>
          <p:cNvPr id="131" name="Text Placeholder 1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624763" y="4343400"/>
            <a:ext cx="279400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9CF916-7347-47A2-83DB-5C35DBE481C6}" type="datetime'''''1''''''''''''''''''''''''7.''''''''''9''''.'''''''">
              <a:rPr lang="en-US" altLang="en-US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9.</a:t>
            </a:fld>
            <a:endParaRPr lang="en-US" altLang="en-US" sz="1000" b="0" dirty="0" smtClean="0">
              <a:sym typeface="+mn-lt"/>
            </a:endParaRPr>
          </a:p>
        </p:txBody>
      </p:sp>
      <p:sp useBgFill="1">
        <p:nvSpPr>
          <p:cNvPr id="98" name="Text Placeholder 1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4533900" y="5602288"/>
            <a:ext cx="876300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/>
              <a:t>FS Czech + UK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36D2F446-D1C1-40BD-8B9F-51582C7D8CE6}" type="datetime'''2''''''''''''''''''''''''''''''''''''''.''8''''''.'''''''''">
              <a:rPr lang="en-US" altLang="en-US" sz="1000" b="0"/>
              <a:pPr/>
              <a:t>2.8.</a:t>
            </a:fld>
            <a:r>
              <a:rPr lang="en-US" altLang="en-US" sz="1000" b="0" smtClean="0">
                <a:sym typeface="+mn-lt"/>
              </a:rPr>
              <a:t> - </a:t>
            </a:r>
            <a:fld id="{80872C4D-0BBA-4D0E-880E-FAEFE8EDAB71}" type="datetime'''''''20''''''''.''8''''''''''''''.'''">
              <a:rPr lang="en-US" altLang="en-US" sz="1000" b="0"/>
              <a:pPr/>
              <a:t>20.8.</a:t>
            </a:fld>
            <a:endParaRPr lang="en-US" sz="1000" b="0" dirty="0"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554038" y="4710113"/>
            <a:ext cx="654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/>
              <a:t>Milestones</a:t>
            </a:r>
            <a:endParaRPr lang="en-US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34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2&quot; g=&quot;E2&quot; b=&quot;2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mCwQtmSv6TuMaKrkZo7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6KBh2SxKYq9LFgmGU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c7fPGmRImElEG1MD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DioSXQAOo4Ah6BOLe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nzz1_yRyqgL6mh8X3i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tuy2oRuO0a2sqk0Gn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WyDZjRGW6fu0BFmSz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2X2qqCRjmF7pbIqdJX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uqVyXQQWnidBf.bK_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DKejAFS5ePV7vnwV8q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85V1LQrioAB9MrKDs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1Y2oUQ2Oisw9bj.id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wmrHhRI2cOgClXBvn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kRc48T0iUKskmNMGX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cmDh3RWKOIvEDfsY2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5rrXEzT0WxZG2s5H7o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3zKcN_TtKgR1ZybQ1G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.BOjz8SOqnjsaiXLF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zNdyzTdChDx3wPrqf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YWQs9S1u6w4zmCNqQ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xZ.UrIRI2IDc5Ecjke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CttYt0S9KeOrpO5xsO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Cz_R2QZyouUEuTyrM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TlCGGQB.HhUwteC9m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PRcSNoRuShXwYVgHh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4E9xNTJOzqTk1Bhhc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p9HqwSg.OWnbfkwgv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LNTDQPRIOU9roqFlzN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y6yXvQRu04jIN6mg1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8DS03R0yazPOBf93H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7kTv4wTB6v4S9a2v85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V8jioQXyBbI67UbKi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IzvOdORDqdsRmoYQf8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X1pggNTByFPdD.10bg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1xqMsQyqljXYQ8CfC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dX5g08QDOA7ghYQ3nr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p3pyyRSAagEQz1_gfL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dykhBQkSORFnEFJSa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xbL1h2Qs..NCq0CJqp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0Rn3V2SWqy2bkhQuZt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rqE.zhRe24adSifCLe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Y1m6fEQQ6aTwas3e4.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7iaskfREmju9OyZtfy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wo99JRvitSENHU7wC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XONlJQQOS_3b4qchvZ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W9iUA4StuhdkYsuyFT5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J4YmuRWewXTTJf3wz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0Jr_oRoGrzWn44wDh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niooNlSqSluPL3B7Xa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Vcads4QTu1eOT9Gg1V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T9laj5QRiX_AGT73S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y7MnNRjawjsqMYjIV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0Di9TDSkSXalyYALEt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sU3LKT1edNpf6rlPw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nuzo.8R6mYx1ZvoEhi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PTcRpS16zicnRfCBA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FUpJkQBGILmtiKmz3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Ezut5QGO0Zwl6KPP6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cej74mSSKzc1pbH5i.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_wQqjEQCa1dBveDrep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KQ9BERE6DtVFaWT75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xP7.0WTBubginDqfzh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JPq.CQhm7W5CfN6XE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vb1cnRxKbQF.RYn2W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O6dzfUS9ax9iC1NFN0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AwFpsSI6micrHMEeY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ROm2PuQWyOCIAlBhbT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1qQcATI6ASoGuoLJA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aVXa91QBKQp06LS3H8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MihmdRtm2EpFfl06r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qIIS0VQOejgcNTXot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FmvUKYS8ql0_yGuepY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ApY.3SrWuFsXbt.M3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RlEiHQbukPTwMCo9h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WaCBmR7.tS6IoBVMH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FLagpQDya8EDgDIYe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BBnXsRFaYD8hCnyDg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WpCIlT9iIS.OK15ow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NkQ4rDRqO2ahphwtyh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DHqQ06Q8SLdqTH3RMz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3Dw1gTuqCf02Q4.Ch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LzLtmSKyvaNeEUQsB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7EiEhTFiVLo8iNEzk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zHzVISkOWYEvI0ZMb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GUnVWSwyekB.CNTAC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emzhLSFmUeJAoJbSZ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jYn3iS4GSfMoXNLDU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fsi9uQdS_OXojZs.b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pemODQFeIEchZidCd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YVe5wVSDG_CJguty0Ci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QVdtnRgyV4h3M5cB8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i9r5wT_iWedkehVmq2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EB44E16-2275-4E7C-B06C-8D2350F71F63}" vid="{A9435625-3589-4121-B861-43B772E945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</TotalTime>
  <Words>64</Words>
  <Application>Microsoft Office PowerPoint</Application>
  <PresentationFormat>A4 Paper (210x297 mm)</PresentationFormat>
  <Paragraphs>5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Blank</vt:lpstr>
      <vt:lpstr>think-cell Slide</vt:lpstr>
      <vt:lpstr>Schedule</vt:lpstr>
      <vt:lpstr>Schedule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zeles Marek</dc:creator>
  <cp:lastModifiedBy>Marek</cp:lastModifiedBy>
  <cp:revision>6</cp:revision>
  <dcterms:created xsi:type="dcterms:W3CDTF">2017-07-17T17:04:50Z</dcterms:created>
  <dcterms:modified xsi:type="dcterms:W3CDTF">2017-07-28T14:5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